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3663" r:id="rId2"/>
    <p:sldMasterId id="2147483678" r:id="rId3"/>
    <p:sldMasterId id="2147483696" r:id="rId4"/>
    <p:sldMasterId id="2147483712" r:id="rId5"/>
  </p:sldMasterIdLst>
  <p:notesMasterIdLst>
    <p:notesMasterId r:id="rId16"/>
  </p:notesMasterIdLst>
  <p:handoutMasterIdLst>
    <p:handoutMasterId r:id="rId17"/>
  </p:handoutMasterIdLst>
  <p:sldIdLst>
    <p:sldId id="407" r:id="rId6"/>
    <p:sldId id="396" r:id="rId7"/>
    <p:sldId id="389" r:id="rId8"/>
    <p:sldId id="393" r:id="rId9"/>
    <p:sldId id="373" r:id="rId10"/>
    <p:sldId id="409" r:id="rId11"/>
    <p:sldId id="410" r:id="rId12"/>
    <p:sldId id="387" r:id="rId13"/>
    <p:sldId id="388" r:id="rId14"/>
    <p:sldId id="408" r:id="rId15"/>
  </p:sldIdLst>
  <p:sldSz cx="12192000" cy="6858000"/>
  <p:notesSz cx="6797675" cy="9928225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stelli Chiara" initials="CC" lastIdx="3" clrIdx="0"/>
  <p:cmAuthor id="1" name="Selvaggi Laura" initials="SL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88D"/>
    <a:srgbClr val="00266B"/>
    <a:srgbClr val="FFD88B"/>
    <a:srgbClr val="EE832A"/>
    <a:srgbClr val="FFB219"/>
    <a:srgbClr val="FFB400"/>
    <a:srgbClr val="FFDC95"/>
    <a:srgbClr val="DBE2ED"/>
    <a:srgbClr val="BAC5D0"/>
    <a:srgbClr val="D2D9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Stile con tema 1 - Color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Stile con tema 1 - Colore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88" autoAdjust="0"/>
    <p:restoredTop sz="94434" autoAdjust="0"/>
  </p:normalViewPr>
  <p:slideViewPr>
    <p:cSldViewPr>
      <p:cViewPr varScale="1">
        <p:scale>
          <a:sx n="70" d="100"/>
          <a:sy n="70" d="100"/>
        </p:scale>
        <p:origin x="72" y="84"/>
      </p:cViewPr>
      <p:guideLst>
        <p:guide orient="horz" pos="2160"/>
        <p:guide pos="3840"/>
      </p:guideLst>
    </p:cSldViewPr>
  </p:slideViewPr>
  <p:outlineViewPr>
    <p:cViewPr>
      <p:scale>
        <a:sx n="25" d="100"/>
        <a:sy n="25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45" d="100"/>
          <a:sy n="45" d="100"/>
        </p:scale>
        <p:origin x="-3054" y="-108"/>
      </p:cViewPr>
      <p:guideLst>
        <p:guide orient="horz" pos="3128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Clienti\FCP\2.%20ASSORADIO\dati\2018\01.%20Gennaio%202018\Secondi%20di%20Avvisi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Clienti\FCP\2.%20ASSORADIO\dati\2018\01.%20Gennaio%202018\Secondi%20di%20Avvisi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Clienti\FCP\AssoRadio\dati\2016\02_Febbraio\Elaborati%20finali\Trend%20Fatturato%20Totale%20per%20tabelle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8\01.%20Gennaio\Elaborati%20finali\Trend%20Fatturato%20Totale%20per%20tabelle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Clienti\FCP\AssoRadio\dati\2016\02_Febbraio\Elaborati%20finali\Trend%20Fatturato%20Totale%20per%20tabelle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.sacchi\Documents\Clienti%20-%20FCP\AssoRadio\2018\01.%20Gennaio\Elaborati%20finali\Trend%20Fatturato%20Totale%20per%20tabell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434254092704738E-2"/>
          <c:y val="0.15441482285444066"/>
          <c:w val="0.67345491955034142"/>
          <c:h val="0.67079868618586536"/>
        </c:manualLayout>
      </c:layout>
      <c:barChart>
        <c:barDir val="col"/>
        <c:grouping val="percentStacked"/>
        <c:varyColors val="0"/>
        <c:ser>
          <c:idx val="0"/>
          <c:order val="0"/>
          <c:tx>
            <c:v>&lt; 15" - Nazionale</c:v>
          </c:tx>
          <c:spPr>
            <a:solidFill>
              <a:srgbClr val="33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(gennaio!$B$2,gennaio!$C$2:$D$2)</c:f>
              <c:numCache>
                <c:formatCode>0.0%</c:formatCode>
                <c:ptCount val="3"/>
                <c:pt idx="1">
                  <c:v>2.655515633948368E-3</c:v>
                </c:pt>
                <c:pt idx="2">
                  <c:v>1.99347816562455E-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(gennaio!#REF!,gennaio!$C$1:$D$1)</c15:sqref>
                        </c15:formulaRef>
                      </c:ext>
                    </c:extLst>
                  </c:multiLvlStrRef>
                </c15:cat>
              </c15:filteredCategoryTitle>
            </c:ext>
          </c:extLst>
        </c:ser>
        <c:ser>
          <c:idx val="1"/>
          <c:order val="1"/>
          <c:tx>
            <c:v>15" - Nazionale</c:v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(gennaio!$B$3,gennaio!$C$3:$D$3)</c:f>
              <c:numCache>
                <c:formatCode>0.0%</c:formatCode>
                <c:ptCount val="3"/>
                <c:pt idx="1">
                  <c:v>0.1221737155142902</c:v>
                </c:pt>
                <c:pt idx="2">
                  <c:v>0.1167921587772499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(gennaio!#REF!,gennaio!$C$1:$D$1)</c15:sqref>
                        </c15:formulaRef>
                      </c:ext>
                    </c:extLst>
                  </c:multiLvlStrRef>
                </c15:cat>
              </c15:filteredCategoryTitle>
            </c:ext>
          </c:extLst>
        </c:ser>
        <c:ser>
          <c:idx val="2"/>
          <c:order val="2"/>
          <c:tx>
            <c:v>20" - Nazionale</c:v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(gennaio!$B$4,gennaio!$C$4:$D$4)</c:f>
              <c:numCache>
                <c:formatCode>0.0%</c:formatCode>
                <c:ptCount val="3"/>
                <c:pt idx="1">
                  <c:v>0.12235368268827766</c:v>
                </c:pt>
                <c:pt idx="2">
                  <c:v>0.1386828648503170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(gennaio!#REF!,gennaio!$C$1:$D$1)</c15:sqref>
                        </c15:formulaRef>
                      </c:ext>
                    </c:extLst>
                  </c:multiLvlStrRef>
                </c15:cat>
              </c15:filteredCategoryTitle>
            </c:ext>
          </c:extLst>
        </c:ser>
        <c:ser>
          <c:idx val="3"/>
          <c:order val="3"/>
          <c:tx>
            <c:v>25" e 30" - Nazionale</c:v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(gennaio!$B$5,gennaio!$C$5:$D$5)</c:f>
              <c:numCache>
                <c:formatCode>0.0%</c:formatCode>
                <c:ptCount val="3"/>
                <c:pt idx="1">
                  <c:v>0.73613532891600575</c:v>
                </c:pt>
                <c:pt idx="2">
                  <c:v>0.73382215796358541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(gennaio!#REF!,gennaio!$C$1:$D$1)</c15:sqref>
                        </c15:formulaRef>
                      </c:ext>
                    </c:extLst>
                  </c:multiLvlStrRef>
                </c15:cat>
              </c15:filteredCategoryTitle>
            </c:ext>
          </c:extLst>
        </c:ser>
        <c:ser>
          <c:idx val="4"/>
          <c:order val="4"/>
          <c:tx>
            <c:v>&gt; 30" - Nazionale</c:v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2.3995822081749043E-3"/>
                  <c:y val="-2.484074539448668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8.3985377286122532E-3"/>
                  <c:y val="-2.235667085503801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(gennaio!$B$6,gennaio!$C$6:$D$6)</c:f>
              <c:numCache>
                <c:formatCode>0.0%</c:formatCode>
                <c:ptCount val="3"/>
                <c:pt idx="1">
                  <c:v>1.6681757247478061E-2</c:v>
                </c:pt>
                <c:pt idx="2">
                  <c:v>8.709340243223113E-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(gennaio!#REF!,gennaio!$C$1:$D$1)</c15:sqref>
                        </c15:formulaRef>
                      </c:ext>
                    </c:extLst>
                  </c:multiLvlStrRef>
                </c15:cat>
              </c15:filteredCategoryTitle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42905960"/>
        <c:axId val="144960288"/>
      </c:barChart>
      <c:catAx>
        <c:axId val="14290596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4960288"/>
        <c:crosses val="autoZero"/>
        <c:auto val="1"/>
        <c:lblAlgn val="ctr"/>
        <c:lblOffset val="100"/>
        <c:noMultiLvlLbl val="0"/>
      </c:catAx>
      <c:valAx>
        <c:axId val="14496028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429059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3010829790800206E-3"/>
          <c:y val="0.88808684211172695"/>
          <c:w val="0.99069891702091983"/>
          <c:h val="9.631616135399942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300" b="1" i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210484442817311E-2"/>
          <c:y val="5.8611344771215906E-2"/>
          <c:w val="0.92668739640412812"/>
          <c:h val="0.7744641468408273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trend storico'!$C$29</c:f>
              <c:strCache>
                <c:ptCount val="1"/>
                <c:pt idx="0">
                  <c:v>&lt; 15" - Nazional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0:$B$36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C$30:$C$36</c:f>
              <c:numCache>
                <c:formatCode>0%</c:formatCode>
                <c:ptCount val="7"/>
                <c:pt idx="0">
                  <c:v>1.6013363781641216E-2</c:v>
                </c:pt>
                <c:pt idx="1">
                  <c:v>9.5367248204075647E-3</c:v>
                </c:pt>
                <c:pt idx="2">
                  <c:v>1.7328800897504634E-3</c:v>
                </c:pt>
                <c:pt idx="3">
                  <c:v>5.0297910991598639E-3</c:v>
                </c:pt>
                <c:pt idx="4">
                  <c:v>7.7244872577617984E-3</c:v>
                </c:pt>
                <c:pt idx="5">
                  <c:v>2.655515633948368E-3</c:v>
                </c:pt>
                <c:pt idx="6">
                  <c:v>1.99347816562455E-3</c:v>
                </c:pt>
              </c:numCache>
            </c:numRef>
          </c:val>
        </c:ser>
        <c:ser>
          <c:idx val="1"/>
          <c:order val="1"/>
          <c:tx>
            <c:strRef>
              <c:f>'trend storico'!$D$29</c:f>
              <c:strCache>
                <c:ptCount val="1"/>
                <c:pt idx="0">
                  <c:v>15" - Nazionale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0:$B$36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D$30:$D$36</c:f>
              <c:numCache>
                <c:formatCode>0%</c:formatCode>
                <c:ptCount val="7"/>
                <c:pt idx="0">
                  <c:v>0.10505873208224906</c:v>
                </c:pt>
                <c:pt idx="1">
                  <c:v>8.3620436886087085E-2</c:v>
                </c:pt>
                <c:pt idx="2">
                  <c:v>0.14689246505935488</c:v>
                </c:pt>
                <c:pt idx="3">
                  <c:v>8.9629249792831767E-2</c:v>
                </c:pt>
                <c:pt idx="4">
                  <c:v>0.12442846482599552</c:v>
                </c:pt>
                <c:pt idx="5">
                  <c:v>0.1221737155142902</c:v>
                </c:pt>
                <c:pt idx="6">
                  <c:v>0.11679215877724994</c:v>
                </c:pt>
              </c:numCache>
            </c:numRef>
          </c:val>
        </c:ser>
        <c:ser>
          <c:idx val="2"/>
          <c:order val="2"/>
          <c:tx>
            <c:strRef>
              <c:f>'trend storico'!$E$29</c:f>
              <c:strCache>
                <c:ptCount val="1"/>
                <c:pt idx="0">
                  <c:v>20" - Nazionale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0:$B$36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E$30:$E$36</c:f>
              <c:numCache>
                <c:formatCode>0%</c:formatCode>
                <c:ptCount val="7"/>
                <c:pt idx="0">
                  <c:v>0.12345082968420341</c:v>
                </c:pt>
                <c:pt idx="1">
                  <c:v>7.552045154669404E-2</c:v>
                </c:pt>
                <c:pt idx="2">
                  <c:v>0.10700440986169708</c:v>
                </c:pt>
                <c:pt idx="3">
                  <c:v>0.11744929737808575</c:v>
                </c:pt>
                <c:pt idx="4">
                  <c:v>0.14884562331818285</c:v>
                </c:pt>
                <c:pt idx="5">
                  <c:v>0.12235368268827766</c:v>
                </c:pt>
                <c:pt idx="6">
                  <c:v>0.13868286485031703</c:v>
                </c:pt>
              </c:numCache>
            </c:numRef>
          </c:val>
        </c:ser>
        <c:ser>
          <c:idx val="3"/>
          <c:order val="3"/>
          <c:tx>
            <c:strRef>
              <c:f>'trend storico'!$F$29</c:f>
              <c:strCache>
                <c:ptCount val="1"/>
                <c:pt idx="0">
                  <c:v>25" e 30" - Nazionale</c:v>
                </c:pt>
              </c:strCache>
            </c:strRef>
          </c:tx>
          <c:spPr>
            <a:solidFill>
              <a:srgbClr val="00467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0:$B$36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F$30:$F$36</c:f>
              <c:numCache>
                <c:formatCode>0%</c:formatCode>
                <c:ptCount val="7"/>
                <c:pt idx="0">
                  <c:v>0.74451568361440079</c:v>
                </c:pt>
                <c:pt idx="1">
                  <c:v>0.80195169330010263</c:v>
                </c:pt>
                <c:pt idx="2">
                  <c:v>0.73553929343030722</c:v>
                </c:pt>
                <c:pt idx="3">
                  <c:v>0.77408861287847031</c:v>
                </c:pt>
                <c:pt idx="4">
                  <c:v>0.69607760667525953</c:v>
                </c:pt>
                <c:pt idx="5">
                  <c:v>0.73613532891600575</c:v>
                </c:pt>
                <c:pt idx="6">
                  <c:v>0.73382215796358541</c:v>
                </c:pt>
              </c:numCache>
            </c:numRef>
          </c:val>
        </c:ser>
        <c:ser>
          <c:idx val="4"/>
          <c:order val="4"/>
          <c:tx>
            <c:strRef>
              <c:f>'trend storico'!$G$29</c:f>
              <c:strCache>
                <c:ptCount val="1"/>
                <c:pt idx="0">
                  <c:v>&gt; 30" - Nazional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0:$B$36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G$30:$G$36</c:f>
              <c:numCache>
                <c:formatCode>0%</c:formatCode>
                <c:ptCount val="7"/>
                <c:pt idx="0">
                  <c:v>1.0961390837505492E-2</c:v>
                </c:pt>
                <c:pt idx="1">
                  <c:v>2.9370693446708694E-2</c:v>
                </c:pt>
                <c:pt idx="2">
                  <c:v>8.8309515588903213E-3</c:v>
                </c:pt>
                <c:pt idx="3">
                  <c:v>1.3803048851452279E-2</c:v>
                </c:pt>
                <c:pt idx="4">
                  <c:v>2.2923817922800353E-2</c:v>
                </c:pt>
                <c:pt idx="5">
                  <c:v>1.6681757247478061E-2</c:v>
                </c:pt>
                <c:pt idx="6">
                  <c:v>8.709340243223113E-3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399609544"/>
        <c:axId val="399609152"/>
      </c:barChart>
      <c:catAx>
        <c:axId val="399609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399609152"/>
        <c:crosses val="autoZero"/>
        <c:auto val="1"/>
        <c:lblAlgn val="ctr"/>
        <c:lblOffset val="100"/>
        <c:noMultiLvlLbl val="0"/>
      </c:catAx>
      <c:valAx>
        <c:axId val="399609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399609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300" b="1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1072453162E-2"/>
          <c:y val="3.2044815293610682E-2"/>
          <c:w val="0.92395959226026991"/>
          <c:h val="0.76537438790300472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4961072"/>
        <c:axId val="144961464"/>
      </c:lineChart>
      <c:catAx>
        <c:axId val="1449610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144961464"/>
        <c:crosses val="autoZero"/>
        <c:auto val="1"/>
        <c:lblAlgn val="ctr"/>
        <c:lblOffset val="100"/>
        <c:noMultiLvlLbl val="0"/>
      </c:catAx>
      <c:valAx>
        <c:axId val="144961464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14496107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1072453162E-2"/>
          <c:y val="3.2044815293610682E-2"/>
          <c:w val="0.92395959226026991"/>
          <c:h val="0.76537438790300472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00266B"/>
              </a:solidFill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rgbClr val="FFC000"/>
                </a:solidFill>
                <a:prstDash val="solid"/>
              </a:ln>
              <a:effectLst/>
            </c:spPr>
            <c:trendlineType val="linear"/>
            <c:dispRSqr val="0"/>
            <c:dispEq val="0"/>
          </c:trendline>
          <c:cat>
            <c:strRef>
              <c:f>mensile!$C$2:$C$134</c:f>
              <c:strCache>
                <c:ptCount val="133"/>
                <c:pt idx="0">
                  <c:v>Gennaio</c:v>
                </c:pt>
                <c:pt idx="1">
                  <c:v>Febbraio</c:v>
                </c:pt>
                <c:pt idx="2">
                  <c:v>Marzo</c:v>
                </c:pt>
                <c:pt idx="3">
                  <c:v>Aprile</c:v>
                </c:pt>
                <c:pt idx="4">
                  <c:v>Maggio</c:v>
                </c:pt>
                <c:pt idx="5">
                  <c:v>Giugno</c:v>
                </c:pt>
                <c:pt idx="6">
                  <c:v>Luglio</c:v>
                </c:pt>
                <c:pt idx="7">
                  <c:v>Agosto</c:v>
                </c:pt>
                <c:pt idx="8">
                  <c:v>Settembre</c:v>
                </c:pt>
                <c:pt idx="9">
                  <c:v>Ottobre</c:v>
                </c:pt>
                <c:pt idx="10">
                  <c:v>Novembre</c:v>
                </c:pt>
                <c:pt idx="11">
                  <c:v>Dicembre</c:v>
                </c:pt>
                <c:pt idx="12">
                  <c:v>Gennaio</c:v>
                </c:pt>
                <c:pt idx="13">
                  <c:v>Febbraio</c:v>
                </c:pt>
                <c:pt idx="14">
                  <c:v>Marzo</c:v>
                </c:pt>
                <c:pt idx="15">
                  <c:v>Aprile</c:v>
                </c:pt>
                <c:pt idx="16">
                  <c:v>Maggio</c:v>
                </c:pt>
                <c:pt idx="17">
                  <c:v>Giugno</c:v>
                </c:pt>
                <c:pt idx="18">
                  <c:v>Luglio</c:v>
                </c:pt>
                <c:pt idx="19">
                  <c:v>Agosto</c:v>
                </c:pt>
                <c:pt idx="20">
                  <c:v>Settembre</c:v>
                </c:pt>
                <c:pt idx="21">
                  <c:v>Ottobre</c:v>
                </c:pt>
                <c:pt idx="22">
                  <c:v>Novembre</c:v>
                </c:pt>
                <c:pt idx="23">
                  <c:v>Dicembre</c:v>
                </c:pt>
                <c:pt idx="24">
                  <c:v>Gennaio</c:v>
                </c:pt>
                <c:pt idx="25">
                  <c:v>Febbraio</c:v>
                </c:pt>
                <c:pt idx="26">
                  <c:v>Marzo</c:v>
                </c:pt>
                <c:pt idx="27">
                  <c:v>Aprile</c:v>
                </c:pt>
                <c:pt idx="28">
                  <c:v>Maggio</c:v>
                </c:pt>
                <c:pt idx="29">
                  <c:v>Giugno</c:v>
                </c:pt>
                <c:pt idx="30">
                  <c:v>Luglio</c:v>
                </c:pt>
                <c:pt idx="31">
                  <c:v>Agosto</c:v>
                </c:pt>
                <c:pt idx="32">
                  <c:v>Settembre</c:v>
                </c:pt>
                <c:pt idx="33">
                  <c:v>Ottobre</c:v>
                </c:pt>
                <c:pt idx="34">
                  <c:v>Novembre</c:v>
                </c:pt>
                <c:pt idx="35">
                  <c:v>Dicembre</c:v>
                </c:pt>
                <c:pt idx="36">
                  <c:v>Gennaio</c:v>
                </c:pt>
                <c:pt idx="37">
                  <c:v>Febbraio</c:v>
                </c:pt>
                <c:pt idx="38">
                  <c:v>Marzo</c:v>
                </c:pt>
                <c:pt idx="39">
                  <c:v>Aprile</c:v>
                </c:pt>
                <c:pt idx="40">
                  <c:v>Maggio</c:v>
                </c:pt>
                <c:pt idx="41">
                  <c:v>Giugno</c:v>
                </c:pt>
                <c:pt idx="42">
                  <c:v>Luglio</c:v>
                </c:pt>
                <c:pt idx="43">
                  <c:v>Agosto</c:v>
                </c:pt>
                <c:pt idx="44">
                  <c:v>Settembre</c:v>
                </c:pt>
                <c:pt idx="45">
                  <c:v>Ottobre</c:v>
                </c:pt>
                <c:pt idx="46">
                  <c:v>Novembre</c:v>
                </c:pt>
                <c:pt idx="47">
                  <c:v>Dicembre</c:v>
                </c:pt>
                <c:pt idx="48">
                  <c:v>Gennaio</c:v>
                </c:pt>
                <c:pt idx="49">
                  <c:v>Febbraio</c:v>
                </c:pt>
                <c:pt idx="50">
                  <c:v>Marzo</c:v>
                </c:pt>
                <c:pt idx="51">
                  <c:v>Aprile</c:v>
                </c:pt>
                <c:pt idx="52">
                  <c:v>Maggio</c:v>
                </c:pt>
                <c:pt idx="53">
                  <c:v>Giugno</c:v>
                </c:pt>
                <c:pt idx="54">
                  <c:v>Luglio</c:v>
                </c:pt>
                <c:pt idx="55">
                  <c:v>Agosto</c:v>
                </c:pt>
                <c:pt idx="56">
                  <c:v>Settembre</c:v>
                </c:pt>
                <c:pt idx="57">
                  <c:v>Ottobre</c:v>
                </c:pt>
                <c:pt idx="58">
                  <c:v>Novembre</c:v>
                </c:pt>
                <c:pt idx="59">
                  <c:v>Dicembre</c:v>
                </c:pt>
                <c:pt idx="60">
                  <c:v>Gennaio</c:v>
                </c:pt>
                <c:pt idx="61">
                  <c:v>Febbraio</c:v>
                </c:pt>
                <c:pt idx="62">
                  <c:v>Marzo</c:v>
                </c:pt>
                <c:pt idx="63">
                  <c:v>Aprile</c:v>
                </c:pt>
                <c:pt idx="64">
                  <c:v>Maggio</c:v>
                </c:pt>
                <c:pt idx="65">
                  <c:v>Giugno</c:v>
                </c:pt>
                <c:pt idx="66">
                  <c:v>Luglio</c:v>
                </c:pt>
                <c:pt idx="67">
                  <c:v>Agosto</c:v>
                </c:pt>
                <c:pt idx="68">
                  <c:v>Settembre</c:v>
                </c:pt>
                <c:pt idx="69">
                  <c:v>Ottobre</c:v>
                </c:pt>
                <c:pt idx="70">
                  <c:v>Novembre</c:v>
                </c:pt>
                <c:pt idx="71">
                  <c:v>Dicembre</c:v>
                </c:pt>
                <c:pt idx="72">
                  <c:v>Gennaio</c:v>
                </c:pt>
                <c:pt idx="73">
                  <c:v>Febbraio</c:v>
                </c:pt>
                <c:pt idx="74">
                  <c:v>Marzo</c:v>
                </c:pt>
                <c:pt idx="75">
                  <c:v>Aprile</c:v>
                </c:pt>
                <c:pt idx="76">
                  <c:v>Maggio</c:v>
                </c:pt>
                <c:pt idx="77">
                  <c:v>Giugno</c:v>
                </c:pt>
                <c:pt idx="78">
                  <c:v>Luglio</c:v>
                </c:pt>
                <c:pt idx="79">
                  <c:v>Agosto</c:v>
                </c:pt>
                <c:pt idx="80">
                  <c:v>Settembre</c:v>
                </c:pt>
                <c:pt idx="81">
                  <c:v>Ottobre</c:v>
                </c:pt>
                <c:pt idx="82">
                  <c:v>Novembre</c:v>
                </c:pt>
                <c:pt idx="83">
                  <c:v>Dicembre</c:v>
                </c:pt>
                <c:pt idx="84">
                  <c:v>Gennaio</c:v>
                </c:pt>
                <c:pt idx="85">
                  <c:v>Febbraio</c:v>
                </c:pt>
                <c:pt idx="86">
                  <c:v>Marzo</c:v>
                </c:pt>
                <c:pt idx="87">
                  <c:v>Aprile</c:v>
                </c:pt>
                <c:pt idx="88">
                  <c:v>Maggio</c:v>
                </c:pt>
                <c:pt idx="89">
                  <c:v>Giugno</c:v>
                </c:pt>
                <c:pt idx="90">
                  <c:v>Luglio</c:v>
                </c:pt>
                <c:pt idx="91">
                  <c:v>Agosto</c:v>
                </c:pt>
                <c:pt idx="92">
                  <c:v>Settembre</c:v>
                </c:pt>
                <c:pt idx="93">
                  <c:v>Ottobre</c:v>
                </c:pt>
                <c:pt idx="94">
                  <c:v>Novembre</c:v>
                </c:pt>
                <c:pt idx="95">
                  <c:v>Dicembre</c:v>
                </c:pt>
                <c:pt idx="96">
                  <c:v>Gennaio</c:v>
                </c:pt>
                <c:pt idx="97">
                  <c:v>Febbraio</c:v>
                </c:pt>
                <c:pt idx="98">
                  <c:v>Marzo</c:v>
                </c:pt>
                <c:pt idx="99">
                  <c:v>Aprile</c:v>
                </c:pt>
                <c:pt idx="100">
                  <c:v>Maggio</c:v>
                </c:pt>
                <c:pt idx="101">
                  <c:v>Giugno</c:v>
                </c:pt>
                <c:pt idx="102">
                  <c:v>Luglio</c:v>
                </c:pt>
                <c:pt idx="103">
                  <c:v>Agosto</c:v>
                </c:pt>
                <c:pt idx="104">
                  <c:v>Settembre</c:v>
                </c:pt>
                <c:pt idx="105">
                  <c:v>Ottobre</c:v>
                </c:pt>
                <c:pt idx="106">
                  <c:v>Novembre</c:v>
                </c:pt>
                <c:pt idx="107">
                  <c:v>Dicembre</c:v>
                </c:pt>
                <c:pt idx="108">
                  <c:v>Gennaio</c:v>
                </c:pt>
                <c:pt idx="109">
                  <c:v>Febbraio</c:v>
                </c:pt>
                <c:pt idx="110">
                  <c:v>Marzo</c:v>
                </c:pt>
                <c:pt idx="111">
                  <c:v>Aprile</c:v>
                </c:pt>
                <c:pt idx="112">
                  <c:v>Maggio</c:v>
                </c:pt>
                <c:pt idx="113">
                  <c:v>Giugno</c:v>
                </c:pt>
                <c:pt idx="114">
                  <c:v>Luglio</c:v>
                </c:pt>
                <c:pt idx="115">
                  <c:v>Agosto</c:v>
                </c:pt>
                <c:pt idx="116">
                  <c:v>Settembre</c:v>
                </c:pt>
                <c:pt idx="117">
                  <c:v>Ottobre</c:v>
                </c:pt>
                <c:pt idx="118">
                  <c:v>Novembre</c:v>
                </c:pt>
                <c:pt idx="119">
                  <c:v>Dicembre</c:v>
                </c:pt>
                <c:pt idx="120">
                  <c:v>Gennaio</c:v>
                </c:pt>
                <c:pt idx="121">
                  <c:v>Febbraio</c:v>
                </c:pt>
                <c:pt idx="122">
                  <c:v>Marzo</c:v>
                </c:pt>
                <c:pt idx="123">
                  <c:v>Aprile</c:v>
                </c:pt>
                <c:pt idx="124">
                  <c:v>Maggio</c:v>
                </c:pt>
                <c:pt idx="125">
                  <c:v>Giugno</c:v>
                </c:pt>
                <c:pt idx="126">
                  <c:v>Luglio</c:v>
                </c:pt>
                <c:pt idx="127">
                  <c:v>Agosto</c:v>
                </c:pt>
                <c:pt idx="128">
                  <c:v>Settembre</c:v>
                </c:pt>
                <c:pt idx="129">
                  <c:v>Ottobre</c:v>
                </c:pt>
                <c:pt idx="130">
                  <c:v>Novembre</c:v>
                </c:pt>
                <c:pt idx="131">
                  <c:v>Dicembre</c:v>
                </c:pt>
                <c:pt idx="132">
                  <c:v>Gennaio</c:v>
                </c:pt>
              </c:strCache>
            </c:strRef>
          </c:cat>
          <c:val>
            <c:numRef>
              <c:f>mensile!$D$2:$D$134</c:f>
              <c:numCache>
                <c:formatCode>#,##0</c:formatCode>
                <c:ptCount val="133"/>
                <c:pt idx="0">
                  <c:v>23659</c:v>
                </c:pt>
                <c:pt idx="1">
                  <c:v>27916</c:v>
                </c:pt>
                <c:pt idx="2">
                  <c:v>38195</c:v>
                </c:pt>
                <c:pt idx="3">
                  <c:v>33986</c:v>
                </c:pt>
                <c:pt idx="4">
                  <c:v>43187</c:v>
                </c:pt>
                <c:pt idx="5">
                  <c:v>44366</c:v>
                </c:pt>
                <c:pt idx="6">
                  <c:v>31941</c:v>
                </c:pt>
                <c:pt idx="7">
                  <c:v>13240</c:v>
                </c:pt>
                <c:pt idx="8">
                  <c:v>28194</c:v>
                </c:pt>
                <c:pt idx="9">
                  <c:v>42806</c:v>
                </c:pt>
                <c:pt idx="10">
                  <c:v>40158</c:v>
                </c:pt>
                <c:pt idx="11">
                  <c:v>30806</c:v>
                </c:pt>
                <c:pt idx="12">
                  <c:v>27131</c:v>
                </c:pt>
                <c:pt idx="13">
                  <c:v>33878</c:v>
                </c:pt>
                <c:pt idx="14">
                  <c:v>37933</c:v>
                </c:pt>
                <c:pt idx="15">
                  <c:v>35399</c:v>
                </c:pt>
                <c:pt idx="16">
                  <c:v>46518</c:v>
                </c:pt>
                <c:pt idx="17">
                  <c:v>43004</c:v>
                </c:pt>
                <c:pt idx="18">
                  <c:v>30568</c:v>
                </c:pt>
                <c:pt idx="19">
                  <c:v>12154</c:v>
                </c:pt>
                <c:pt idx="20">
                  <c:v>31166</c:v>
                </c:pt>
                <c:pt idx="21">
                  <c:v>41813</c:v>
                </c:pt>
                <c:pt idx="22">
                  <c:v>35477</c:v>
                </c:pt>
                <c:pt idx="23">
                  <c:v>26918</c:v>
                </c:pt>
                <c:pt idx="24">
                  <c:v>18749</c:v>
                </c:pt>
                <c:pt idx="25">
                  <c:v>25655</c:v>
                </c:pt>
                <c:pt idx="26">
                  <c:v>34670</c:v>
                </c:pt>
                <c:pt idx="27">
                  <c:v>29170</c:v>
                </c:pt>
                <c:pt idx="28">
                  <c:v>39072</c:v>
                </c:pt>
                <c:pt idx="29">
                  <c:v>37495</c:v>
                </c:pt>
                <c:pt idx="30">
                  <c:v>27821</c:v>
                </c:pt>
                <c:pt idx="31">
                  <c:v>11961</c:v>
                </c:pt>
                <c:pt idx="32">
                  <c:v>31360</c:v>
                </c:pt>
                <c:pt idx="33">
                  <c:v>38767</c:v>
                </c:pt>
                <c:pt idx="34">
                  <c:v>42613</c:v>
                </c:pt>
                <c:pt idx="35">
                  <c:v>33516</c:v>
                </c:pt>
                <c:pt idx="36">
                  <c:v>20032</c:v>
                </c:pt>
                <c:pt idx="37">
                  <c:v>29234</c:v>
                </c:pt>
                <c:pt idx="38">
                  <c:v>39702</c:v>
                </c:pt>
                <c:pt idx="39">
                  <c:v>34320</c:v>
                </c:pt>
                <c:pt idx="40">
                  <c:v>45289</c:v>
                </c:pt>
                <c:pt idx="41">
                  <c:v>43390</c:v>
                </c:pt>
                <c:pt idx="42">
                  <c:v>28792</c:v>
                </c:pt>
                <c:pt idx="43">
                  <c:v>12421</c:v>
                </c:pt>
                <c:pt idx="44">
                  <c:v>31185</c:v>
                </c:pt>
                <c:pt idx="45">
                  <c:v>40420</c:v>
                </c:pt>
                <c:pt idx="46">
                  <c:v>42885</c:v>
                </c:pt>
                <c:pt idx="47">
                  <c:v>31786</c:v>
                </c:pt>
                <c:pt idx="48">
                  <c:v>20138</c:v>
                </c:pt>
                <c:pt idx="49">
                  <c:v>29586</c:v>
                </c:pt>
                <c:pt idx="50">
                  <c:v>34791</c:v>
                </c:pt>
                <c:pt idx="51">
                  <c:v>29973</c:v>
                </c:pt>
                <c:pt idx="52">
                  <c:v>40011</c:v>
                </c:pt>
                <c:pt idx="53">
                  <c:v>38952</c:v>
                </c:pt>
                <c:pt idx="54">
                  <c:v>31306</c:v>
                </c:pt>
                <c:pt idx="55">
                  <c:v>14388</c:v>
                </c:pt>
                <c:pt idx="56">
                  <c:v>29299</c:v>
                </c:pt>
                <c:pt idx="57">
                  <c:v>38831</c:v>
                </c:pt>
                <c:pt idx="58">
                  <c:v>34041</c:v>
                </c:pt>
                <c:pt idx="59">
                  <c:v>26880</c:v>
                </c:pt>
                <c:pt idx="60">
                  <c:v>19286</c:v>
                </c:pt>
                <c:pt idx="61">
                  <c:v>27927</c:v>
                </c:pt>
                <c:pt idx="62">
                  <c:v>33898</c:v>
                </c:pt>
                <c:pt idx="63">
                  <c:v>29992</c:v>
                </c:pt>
                <c:pt idx="64">
                  <c:v>34979</c:v>
                </c:pt>
                <c:pt idx="65">
                  <c:v>36773</c:v>
                </c:pt>
                <c:pt idx="66">
                  <c:v>27562</c:v>
                </c:pt>
                <c:pt idx="67">
                  <c:v>11027</c:v>
                </c:pt>
                <c:pt idx="68">
                  <c:v>25490</c:v>
                </c:pt>
                <c:pt idx="69">
                  <c:v>33011</c:v>
                </c:pt>
                <c:pt idx="70">
                  <c:v>26688</c:v>
                </c:pt>
                <c:pt idx="71">
                  <c:v>24057</c:v>
                </c:pt>
                <c:pt idx="72">
                  <c:v>18863</c:v>
                </c:pt>
                <c:pt idx="73">
                  <c:v>20190</c:v>
                </c:pt>
                <c:pt idx="74">
                  <c:v>26443</c:v>
                </c:pt>
                <c:pt idx="75">
                  <c:v>26276</c:v>
                </c:pt>
                <c:pt idx="76">
                  <c:v>32986</c:v>
                </c:pt>
                <c:pt idx="77">
                  <c:v>31747</c:v>
                </c:pt>
                <c:pt idx="78">
                  <c:v>26789</c:v>
                </c:pt>
                <c:pt idx="79">
                  <c:v>10189</c:v>
                </c:pt>
                <c:pt idx="80">
                  <c:v>23465</c:v>
                </c:pt>
                <c:pt idx="81">
                  <c:v>30022</c:v>
                </c:pt>
                <c:pt idx="82">
                  <c:v>30503</c:v>
                </c:pt>
                <c:pt idx="83">
                  <c:v>22497</c:v>
                </c:pt>
                <c:pt idx="84">
                  <c:v>19713</c:v>
                </c:pt>
                <c:pt idx="85">
                  <c:v>21986</c:v>
                </c:pt>
                <c:pt idx="86">
                  <c:v>27066</c:v>
                </c:pt>
                <c:pt idx="87">
                  <c:v>23506</c:v>
                </c:pt>
                <c:pt idx="88">
                  <c:v>30901</c:v>
                </c:pt>
                <c:pt idx="89">
                  <c:v>27385</c:v>
                </c:pt>
                <c:pt idx="90">
                  <c:v>23730</c:v>
                </c:pt>
                <c:pt idx="91">
                  <c:v>9897</c:v>
                </c:pt>
                <c:pt idx="92">
                  <c:v>24093</c:v>
                </c:pt>
                <c:pt idx="93" formatCode="General">
                  <c:v>30202</c:v>
                </c:pt>
                <c:pt idx="94">
                  <c:v>29939</c:v>
                </c:pt>
                <c:pt idx="95">
                  <c:v>23625</c:v>
                </c:pt>
                <c:pt idx="96" formatCode="General">
                  <c:v>19861</c:v>
                </c:pt>
                <c:pt idx="97" formatCode="General">
                  <c:v>24262</c:v>
                </c:pt>
                <c:pt idx="98" formatCode="General">
                  <c:v>29307</c:v>
                </c:pt>
                <c:pt idx="99" formatCode="General">
                  <c:v>25689</c:v>
                </c:pt>
                <c:pt idx="100">
                  <c:v>31416</c:v>
                </c:pt>
                <c:pt idx="101">
                  <c:v>32125</c:v>
                </c:pt>
                <c:pt idx="102">
                  <c:v>29615</c:v>
                </c:pt>
                <c:pt idx="103">
                  <c:v>11291</c:v>
                </c:pt>
                <c:pt idx="104">
                  <c:v>26798</c:v>
                </c:pt>
                <c:pt idx="105">
                  <c:v>33229</c:v>
                </c:pt>
                <c:pt idx="106">
                  <c:v>30972</c:v>
                </c:pt>
                <c:pt idx="107">
                  <c:v>25019</c:v>
                </c:pt>
                <c:pt idx="108">
                  <c:v>19234</c:v>
                </c:pt>
                <c:pt idx="109">
                  <c:v>25684</c:v>
                </c:pt>
                <c:pt idx="110">
                  <c:v>29780</c:v>
                </c:pt>
                <c:pt idx="111">
                  <c:v>26671</c:v>
                </c:pt>
                <c:pt idx="112">
                  <c:v>31810</c:v>
                </c:pt>
                <c:pt idx="113">
                  <c:v>30617</c:v>
                </c:pt>
                <c:pt idx="114">
                  <c:v>30419</c:v>
                </c:pt>
                <c:pt idx="115">
                  <c:v>12086</c:v>
                </c:pt>
                <c:pt idx="116">
                  <c:v>25565</c:v>
                </c:pt>
                <c:pt idx="117">
                  <c:v>32296</c:v>
                </c:pt>
                <c:pt idx="118">
                  <c:v>34072</c:v>
                </c:pt>
                <c:pt idx="119">
                  <c:v>28783</c:v>
                </c:pt>
                <c:pt idx="120">
                  <c:v>19986</c:v>
                </c:pt>
                <c:pt idx="121">
                  <c:v>24825</c:v>
                </c:pt>
                <c:pt idx="122">
                  <c:v>29755</c:v>
                </c:pt>
                <c:pt idx="123">
                  <c:v>27509</c:v>
                </c:pt>
                <c:pt idx="124">
                  <c:v>36475</c:v>
                </c:pt>
                <c:pt idx="125">
                  <c:v>33335</c:v>
                </c:pt>
                <c:pt idx="126">
                  <c:v>28882</c:v>
                </c:pt>
                <c:pt idx="127">
                  <c:v>12053</c:v>
                </c:pt>
                <c:pt idx="128">
                  <c:v>28568</c:v>
                </c:pt>
                <c:pt idx="129">
                  <c:v>37030</c:v>
                </c:pt>
                <c:pt idx="130">
                  <c:v>37126</c:v>
                </c:pt>
                <c:pt idx="131">
                  <c:v>28863</c:v>
                </c:pt>
                <c:pt idx="132">
                  <c:v>2103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4962248"/>
        <c:axId val="144962640"/>
      </c:lineChart>
      <c:catAx>
        <c:axId val="1449622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44962640"/>
        <c:crosses val="autoZero"/>
        <c:auto val="1"/>
        <c:lblAlgn val="ctr"/>
        <c:lblOffset val="100"/>
        <c:noMultiLvlLbl val="0"/>
      </c:catAx>
      <c:valAx>
        <c:axId val="144962640"/>
        <c:scaling>
          <c:orientation val="minMax"/>
          <c:min val="500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50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449622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1072453162E-2"/>
          <c:y val="3.2044815293610682E-2"/>
          <c:w val="0.92395959226026991"/>
          <c:h val="0.76537438790300472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4963424"/>
        <c:axId val="144963816"/>
      </c:lineChart>
      <c:catAx>
        <c:axId val="1449634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144963816"/>
        <c:crosses val="autoZero"/>
        <c:auto val="1"/>
        <c:lblAlgn val="ctr"/>
        <c:lblOffset val="100"/>
        <c:noMultiLvlLbl val="0"/>
      </c:catAx>
      <c:valAx>
        <c:axId val="144963816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14496342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88644138439446E-2"/>
          <c:y val="2.9463018392126353E-2"/>
          <c:w val="0.92294778905461894"/>
          <c:h val="0.78844227567974845"/>
        </c:manualLayout>
      </c:layout>
      <c:lineChart>
        <c:grouping val="standard"/>
        <c:varyColors val="0"/>
        <c:ser>
          <c:idx val="1"/>
          <c:order val="0"/>
          <c:tx>
            <c:strRef>
              <c:f>mensile!$C$13:$C$134</c:f>
              <c:strCache>
                <c:ptCount val="122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  <c:pt idx="118">
                  <c:v>Ottobre</c:v>
                </c:pt>
                <c:pt idx="119">
                  <c:v>Novembre</c:v>
                </c:pt>
                <c:pt idx="120">
                  <c:v>Dicembre</c:v>
                </c:pt>
                <c:pt idx="121">
                  <c:v>Gennaio</c:v>
                </c:pt>
              </c:strCache>
            </c:strRef>
          </c:tx>
          <c:spPr>
            <a:ln>
              <a:solidFill>
                <a:srgbClr val="00266B"/>
              </a:solidFill>
            </a:ln>
          </c:spPr>
          <c:marker>
            <c:symbol val="square"/>
            <c:size val="4"/>
            <c:spPr>
              <a:noFill/>
              <a:ln>
                <a:noFill/>
              </a:ln>
            </c:spPr>
          </c:marker>
          <c:trendline>
            <c:spPr>
              <a:ln w="28575">
                <a:solidFill>
                  <a:srgbClr val="FFC000"/>
                </a:solidFill>
              </a:ln>
            </c:spPr>
            <c:trendlineType val="linear"/>
            <c:dispRSqr val="0"/>
            <c:dispEq val="0"/>
          </c:trendline>
          <c:cat>
            <c:strRef>
              <c:f>mensile!$C$13:$C$134</c:f>
              <c:strCache>
                <c:ptCount val="122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  <c:pt idx="118">
                  <c:v>Ottobre</c:v>
                </c:pt>
                <c:pt idx="119">
                  <c:v>Novembre</c:v>
                </c:pt>
                <c:pt idx="120">
                  <c:v>Dicembre</c:v>
                </c:pt>
                <c:pt idx="121">
                  <c:v>Gennaio</c:v>
                </c:pt>
              </c:strCache>
            </c:strRef>
          </c:cat>
          <c:val>
            <c:numRef>
              <c:f>mensile!$E$13:$E$134</c:f>
              <c:numCache>
                <c:formatCode>#,##0</c:formatCode>
                <c:ptCount val="122"/>
                <c:pt idx="0">
                  <c:v>33204.5</c:v>
                </c:pt>
                <c:pt idx="1">
                  <c:v>33493.833333333336</c:v>
                </c:pt>
                <c:pt idx="2">
                  <c:v>33990.666666666664</c:v>
                </c:pt>
                <c:pt idx="3">
                  <c:v>33968.833333333336</c:v>
                </c:pt>
                <c:pt idx="4">
                  <c:v>34086.583333333336</c:v>
                </c:pt>
                <c:pt idx="5">
                  <c:v>34364.166666666664</c:v>
                </c:pt>
                <c:pt idx="6">
                  <c:v>34250.666666666664</c:v>
                </c:pt>
                <c:pt idx="7">
                  <c:v>34136.25</c:v>
                </c:pt>
                <c:pt idx="8">
                  <c:v>34045.75</c:v>
                </c:pt>
                <c:pt idx="9">
                  <c:v>34293.416666666664</c:v>
                </c:pt>
                <c:pt idx="10">
                  <c:v>34210.666666666664</c:v>
                </c:pt>
                <c:pt idx="11">
                  <c:v>33820.583333333336</c:v>
                </c:pt>
                <c:pt idx="12">
                  <c:v>33496.583333333336</c:v>
                </c:pt>
                <c:pt idx="13">
                  <c:v>32798.083333333336</c:v>
                </c:pt>
                <c:pt idx="14">
                  <c:v>32112.833333333332</c:v>
                </c:pt>
                <c:pt idx="15">
                  <c:v>31840.916666666668</c:v>
                </c:pt>
                <c:pt idx="16">
                  <c:v>31321.833333333332</c:v>
                </c:pt>
                <c:pt idx="17">
                  <c:v>30701.333333333332</c:v>
                </c:pt>
                <c:pt idx="18">
                  <c:v>30242.25</c:v>
                </c:pt>
                <c:pt idx="19">
                  <c:v>30013.333333333332</c:v>
                </c:pt>
                <c:pt idx="20">
                  <c:v>29997.25</c:v>
                </c:pt>
                <c:pt idx="21">
                  <c:v>30013.416666666668</c:v>
                </c:pt>
                <c:pt idx="22">
                  <c:v>29759.583333333332</c:v>
                </c:pt>
                <c:pt idx="23">
                  <c:v>30354.25</c:v>
                </c:pt>
                <c:pt idx="24">
                  <c:v>30904.083333333332</c:v>
                </c:pt>
                <c:pt idx="25">
                  <c:v>31011</c:v>
                </c:pt>
                <c:pt idx="26">
                  <c:v>31309.25</c:v>
                </c:pt>
                <c:pt idx="27">
                  <c:v>31728.583333333332</c:v>
                </c:pt>
                <c:pt idx="28">
                  <c:v>32157.75</c:v>
                </c:pt>
                <c:pt idx="29">
                  <c:v>32675.833333333332</c:v>
                </c:pt>
                <c:pt idx="30">
                  <c:v>33167.083333333336</c:v>
                </c:pt>
                <c:pt idx="31">
                  <c:v>33248</c:v>
                </c:pt>
                <c:pt idx="32">
                  <c:v>33286.333333333336</c:v>
                </c:pt>
                <c:pt idx="33">
                  <c:v>33271.75</c:v>
                </c:pt>
                <c:pt idx="34">
                  <c:v>33409.5</c:v>
                </c:pt>
                <c:pt idx="35">
                  <c:v>33432.166666666664</c:v>
                </c:pt>
                <c:pt idx="36">
                  <c:v>33288</c:v>
                </c:pt>
                <c:pt idx="37">
                  <c:v>33296.833333333336</c:v>
                </c:pt>
                <c:pt idx="38">
                  <c:v>33326.166666666664</c:v>
                </c:pt>
                <c:pt idx="39">
                  <c:v>32916.916666666664</c:v>
                </c:pt>
                <c:pt idx="40">
                  <c:v>32554.666666666668</c:v>
                </c:pt>
                <c:pt idx="41">
                  <c:v>32114.833333333332</c:v>
                </c:pt>
                <c:pt idx="42">
                  <c:v>31745</c:v>
                </c:pt>
                <c:pt idx="43">
                  <c:v>31954.5</c:v>
                </c:pt>
                <c:pt idx="44">
                  <c:v>32118.416666666668</c:v>
                </c:pt>
                <c:pt idx="45">
                  <c:v>31961.25</c:v>
                </c:pt>
                <c:pt idx="46">
                  <c:v>31828.833333333332</c:v>
                </c:pt>
                <c:pt idx="47">
                  <c:v>31091.833333333332</c:v>
                </c:pt>
                <c:pt idx="48">
                  <c:v>30683</c:v>
                </c:pt>
                <c:pt idx="49">
                  <c:v>30612</c:v>
                </c:pt>
                <c:pt idx="50">
                  <c:v>30473.75</c:v>
                </c:pt>
                <c:pt idx="51">
                  <c:v>30399.333333333332</c:v>
                </c:pt>
                <c:pt idx="52">
                  <c:v>30400.916666666668</c:v>
                </c:pt>
                <c:pt idx="53">
                  <c:v>29981.583333333332</c:v>
                </c:pt>
                <c:pt idx="54">
                  <c:v>29800</c:v>
                </c:pt>
                <c:pt idx="55">
                  <c:v>29488</c:v>
                </c:pt>
                <c:pt idx="56">
                  <c:v>29207.916666666668</c:v>
                </c:pt>
                <c:pt idx="57">
                  <c:v>28890.5</c:v>
                </c:pt>
                <c:pt idx="58">
                  <c:v>28405.5</c:v>
                </c:pt>
                <c:pt idx="59">
                  <c:v>27792.75</c:v>
                </c:pt>
                <c:pt idx="60">
                  <c:v>27557.5</c:v>
                </c:pt>
                <c:pt idx="61">
                  <c:v>27522.25</c:v>
                </c:pt>
                <c:pt idx="62">
                  <c:v>26877.5</c:v>
                </c:pt>
                <c:pt idx="63">
                  <c:v>26256.25</c:v>
                </c:pt>
                <c:pt idx="64">
                  <c:v>25946.583333333332</c:v>
                </c:pt>
                <c:pt idx="65">
                  <c:v>25780.5</c:v>
                </c:pt>
                <c:pt idx="66">
                  <c:v>25361.666666666668</c:v>
                </c:pt>
                <c:pt idx="67">
                  <c:v>25297.25</c:v>
                </c:pt>
                <c:pt idx="68">
                  <c:v>25227.416666666668</c:v>
                </c:pt>
                <c:pt idx="69">
                  <c:v>25058.666666666668</c:v>
                </c:pt>
                <c:pt idx="70">
                  <c:v>24809.583333333332</c:v>
                </c:pt>
                <c:pt idx="71">
                  <c:v>25127.5</c:v>
                </c:pt>
                <c:pt idx="72">
                  <c:v>24997.5</c:v>
                </c:pt>
                <c:pt idx="73">
                  <c:v>25068.333333333332</c:v>
                </c:pt>
                <c:pt idx="74">
                  <c:v>25218</c:v>
                </c:pt>
                <c:pt idx="75">
                  <c:v>25269.916666666668</c:v>
                </c:pt>
                <c:pt idx="76">
                  <c:v>25039.083333333332</c:v>
                </c:pt>
                <c:pt idx="77">
                  <c:v>24865.333333333332</c:v>
                </c:pt>
                <c:pt idx="78">
                  <c:v>24501.833333333332</c:v>
                </c:pt>
                <c:pt idx="79">
                  <c:v>24246.916666666668</c:v>
                </c:pt>
                <c:pt idx="80">
                  <c:v>24222.583333333332</c:v>
                </c:pt>
                <c:pt idx="81">
                  <c:v>24274.916666666668</c:v>
                </c:pt>
                <c:pt idx="82">
                  <c:v>24289.916666666668</c:v>
                </c:pt>
                <c:pt idx="83">
                  <c:v>24242.916666666668</c:v>
                </c:pt>
                <c:pt idx="84">
                  <c:v>24336.916666666668</c:v>
                </c:pt>
                <c:pt idx="85">
                  <c:v>24349.25</c:v>
                </c:pt>
                <c:pt idx="86">
                  <c:v>24538.916666666668</c:v>
                </c:pt>
                <c:pt idx="87">
                  <c:v>24725.666666666668</c:v>
                </c:pt>
                <c:pt idx="88">
                  <c:v>24907.583333333332</c:v>
                </c:pt>
                <c:pt idx="89">
                  <c:v>24950.5</c:v>
                </c:pt>
                <c:pt idx="90">
                  <c:v>25345.5</c:v>
                </c:pt>
                <c:pt idx="91">
                  <c:v>25835.916666666668</c:v>
                </c:pt>
                <c:pt idx="92">
                  <c:v>25952.083333333332</c:v>
                </c:pt>
                <c:pt idx="93">
                  <c:v>26177.5</c:v>
                </c:pt>
                <c:pt idx="94">
                  <c:v>26429.75</c:v>
                </c:pt>
                <c:pt idx="95">
                  <c:v>26515.833333333332</c:v>
                </c:pt>
                <c:pt idx="96">
                  <c:v>26632</c:v>
                </c:pt>
                <c:pt idx="97">
                  <c:v>26579.75</c:v>
                </c:pt>
                <c:pt idx="98">
                  <c:v>26698.25</c:v>
                </c:pt>
                <c:pt idx="99">
                  <c:v>26737.666666666668</c:v>
                </c:pt>
                <c:pt idx="100">
                  <c:v>26819.5</c:v>
                </c:pt>
                <c:pt idx="101">
                  <c:v>26852.333333333332</c:v>
                </c:pt>
                <c:pt idx="102">
                  <c:v>26726.666666666668</c:v>
                </c:pt>
                <c:pt idx="103">
                  <c:v>26793.666666666668</c:v>
                </c:pt>
                <c:pt idx="104">
                  <c:v>26859.916666666668</c:v>
                </c:pt>
                <c:pt idx="105">
                  <c:v>26757.166666666668</c:v>
                </c:pt>
                <c:pt idx="106">
                  <c:v>26679.416666666668</c:v>
                </c:pt>
                <c:pt idx="107">
                  <c:v>26937.75</c:v>
                </c:pt>
                <c:pt idx="108">
                  <c:v>27251.416666666668</c:v>
                </c:pt>
                <c:pt idx="109">
                  <c:v>27314.083333333332</c:v>
                </c:pt>
                <c:pt idx="110">
                  <c:v>27242.5</c:v>
                </c:pt>
                <c:pt idx="111">
                  <c:v>27240.416666666668</c:v>
                </c:pt>
                <c:pt idx="112">
                  <c:v>27310.25</c:v>
                </c:pt>
                <c:pt idx="113">
                  <c:v>27699</c:v>
                </c:pt>
                <c:pt idx="114">
                  <c:v>27925.5</c:v>
                </c:pt>
                <c:pt idx="115">
                  <c:v>27797.416666666668</c:v>
                </c:pt>
                <c:pt idx="116">
                  <c:v>27794.666666666668</c:v>
                </c:pt>
                <c:pt idx="117">
                  <c:v>28044.916666666668</c:v>
                </c:pt>
                <c:pt idx="118">
                  <c:v>28439.416666666668</c:v>
                </c:pt>
                <c:pt idx="119">
                  <c:v>28693.916666666668</c:v>
                </c:pt>
                <c:pt idx="120">
                  <c:v>28700.583333333332</c:v>
                </c:pt>
                <c:pt idx="121">
                  <c:v>28787.83333333333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5115456"/>
        <c:axId val="145115848"/>
      </c:lineChart>
      <c:catAx>
        <c:axId val="1451154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 sz="100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45115848"/>
        <c:crosses val="autoZero"/>
        <c:auto val="0"/>
        <c:lblAlgn val="ctr"/>
        <c:lblOffset val="100"/>
        <c:noMultiLvlLbl val="0"/>
      </c:catAx>
      <c:valAx>
        <c:axId val="145115848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none"/>
        <c:minorTickMark val="none"/>
        <c:tickLblPos val="nextTo"/>
        <c:spPr>
          <a:ln w="9525"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100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45115456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5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4CA06CC-DF2B-4766-BFC7-FDC658E828B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256041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2950"/>
            <a:ext cx="6618287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7" y="4714875"/>
            <a:ext cx="5438775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 smtClean="0"/>
              <a:t>Fare clic per modificare gli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C1303C6-5D75-4EB5-AB33-C6E03672B97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717960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9177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2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7759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2950"/>
            <a:ext cx="6618287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C1303C6-5D75-4EB5-AB33-C6E03672B972}" type="slidenum">
              <a:rPr lang="it-IT" smtClean="0"/>
              <a:pPr>
                <a:defRPr/>
              </a:pPr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24960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7383598"/>
      </p:ext>
    </p:extLst>
  </p:cSld>
  <p:clrMapOvr>
    <a:masterClrMapping/>
  </p:clrMapOvr>
  <p:transition spd="med">
    <p:strips dir="r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36176967"/>
      </p:ext>
    </p:extLst>
  </p:cSld>
  <p:clrMapOvr>
    <a:masterClrMapping/>
  </p:clrMapOvr>
  <p:transition spd="med">
    <p:strips dir="r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95779852"/>
      </p:ext>
    </p:extLst>
  </p:cSld>
  <p:clrMapOvr>
    <a:masterClrMapping/>
  </p:clrMapOvr>
  <p:transition spd="med">
    <p:strips dir="r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2665872679"/>
      </p:ext>
    </p:extLst>
  </p:cSld>
  <p:clrMapOvr>
    <a:masterClrMapping/>
  </p:clrMapOvr>
  <p:transition spd="med">
    <p:strips dir="r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78589816"/>
      </p:ext>
    </p:extLst>
  </p:cSld>
  <p:clrMapOvr>
    <a:masterClrMapping/>
  </p:clrMapOvr>
  <p:transition spd="med">
    <p:strips dir="r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77826689"/>
      </p:ext>
    </p:extLst>
  </p:cSld>
  <p:clrMapOvr>
    <a:masterClrMapping/>
  </p:clrMapOvr>
  <p:transition spd="med">
    <p:strips dir="r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9306583"/>
      </p:ext>
    </p:extLst>
  </p:cSld>
  <p:clrMapOvr>
    <a:masterClrMapping/>
  </p:clrMapOvr>
  <p:transition spd="med">
    <p:strips dir="r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450887"/>
      </p:ext>
    </p:extLst>
  </p:cSld>
  <p:clrMapOvr>
    <a:masterClrMapping/>
  </p:clrMapOvr>
  <p:transition spd="med">
    <p:strips dir="r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2738116"/>
      </p:ext>
    </p:extLst>
  </p:cSld>
  <p:clrMapOvr>
    <a:masterClrMapping/>
  </p:clrMapOvr>
  <p:transition spd="med">
    <p:strips dir="r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17409807"/>
      </p:ext>
    </p:extLst>
  </p:cSld>
  <p:clrMapOvr>
    <a:masterClrMapping/>
  </p:clrMapOvr>
  <p:transition spd="med">
    <p:strips dir="r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837974"/>
      </p:ext>
    </p:extLst>
  </p:cSld>
  <p:clrMapOvr>
    <a:masterClrMapping/>
  </p:clrMapOvr>
  <p:transition spd="med">
    <p:strips dir="r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31459494"/>
      </p:ext>
    </p:extLst>
  </p:cSld>
  <p:clrMapOvr>
    <a:masterClrMapping/>
  </p:clrMapOvr>
  <p:transition spd="med">
    <p:strips dir="r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54045"/>
      </p:ext>
    </p:extLst>
  </p:cSld>
  <p:clrMapOvr>
    <a:masterClrMapping/>
  </p:clrMapOvr>
  <p:transition spd="med">
    <p:strips dir="r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0230347"/>
      </p:ext>
    </p:extLst>
  </p:cSld>
  <p:clrMapOvr>
    <a:masterClrMapping/>
  </p:clrMapOvr>
  <p:transition spd="med">
    <p:strips dir="r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51677282"/>
      </p:ext>
    </p:extLst>
  </p:cSld>
  <p:clrMapOvr>
    <a:masterClrMapping/>
  </p:clrMapOvr>
  <p:transition spd="med">
    <p:strips dir="r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81808767"/>
      </p:ext>
    </p:extLst>
  </p:cSld>
  <p:clrMapOvr>
    <a:masterClrMapping/>
  </p:clrMapOvr>
  <p:transition spd="med">
    <p:strips dir="r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3021146096"/>
      </p:ext>
    </p:extLst>
  </p:cSld>
  <p:clrMapOvr>
    <a:masterClrMapping/>
  </p:clrMapOvr>
  <p:transition spd="med">
    <p:strips dir="r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en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9694" y="1006476"/>
            <a:ext cx="11128415" cy="4500563"/>
          </a:xfrm>
          <a:prstGeom prst="rect">
            <a:avLst/>
          </a:prstGeom>
        </p:spPr>
        <p:txBody>
          <a:bodyPr/>
          <a:lstStyle>
            <a:lvl1pPr marL="174625" indent="-174625">
              <a:spcAft>
                <a:spcPts val="115"/>
              </a:spcAft>
              <a:buFont typeface="Arial" pitchFamily="34" charset="0"/>
              <a:buNone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66688" indent="-166688">
              <a:spcAft>
                <a:spcPts val="115"/>
              </a:spcAft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77800" indent="-177800">
              <a:spcAft>
                <a:spcPts val="115"/>
              </a:spcAf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7800" indent="-177800">
              <a:spcAft>
                <a:spcPts val="115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625" indent="-174625">
              <a:spcAft>
                <a:spcPts val="115"/>
              </a:spcAft>
              <a:buFont typeface="Arial" pitchFamily="34" charset="0"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Titolo 1"/>
          <p:cNvSpPr>
            <a:spLocks noGrp="1"/>
          </p:cNvSpPr>
          <p:nvPr>
            <p:ph type="title" hasCustomPrompt="1"/>
          </p:nvPr>
        </p:nvSpPr>
        <p:spPr>
          <a:xfrm>
            <a:off x="629693" y="249387"/>
            <a:ext cx="11148321" cy="583127"/>
          </a:xfrm>
          <a:prstGeom prst="rect">
            <a:avLst/>
          </a:prstGeom>
        </p:spPr>
        <p:txBody>
          <a:bodyPr/>
          <a:lstStyle>
            <a:lvl1pPr>
              <a:defRPr sz="2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ext styles</a:t>
            </a:r>
            <a:endParaRPr lang="it-IT" dirty="0"/>
          </a:p>
        </p:txBody>
      </p:sp>
      <p:pic>
        <p:nvPicPr>
          <p:cNvPr id="2050" name="Picture 2" descr="C:\MARKETING\PROGETTI\PPT REPLY TEMPLATE\elements\omini tutti colori 3d\green\reply_3d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218902" y="6283327"/>
            <a:ext cx="5218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3005305-56AA-41FB-8E52-9E09D388040D}" type="slidenum">
              <a:rPr lang="it-IT" sz="1000" smtClean="0">
                <a:solidFill>
                  <a:srgbClr val="000000"/>
                </a:solidFill>
              </a:rPr>
              <a:pPr algn="r"/>
              <a:t>‹N›</a:t>
            </a:fld>
            <a:endParaRPr lang="it-IT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762301"/>
      </p:ext>
    </p:extLst>
  </p:cSld>
  <p:clrMapOvr>
    <a:masterClrMapping/>
  </p:clrMapOvr>
  <p:transition spd="med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949" y="6331379"/>
            <a:ext cx="1379035" cy="323421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952" y="304364"/>
            <a:ext cx="3594826" cy="188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060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42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5301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485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63151"/>
      </p:ext>
    </p:extLst>
  </p:cSld>
  <p:clrMapOvr>
    <a:masterClrMapping/>
  </p:clrMapOvr>
  <p:transition spd="med">
    <p:strips dir="r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8886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6939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8692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503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929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6532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63383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4337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5994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85203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24006452"/>
      </p:ext>
    </p:extLst>
  </p:cSld>
  <p:clrMapOvr>
    <a:masterClrMapping/>
  </p:clrMapOvr>
  <p:transition spd="med">
    <p:strips dir="r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4072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0051887"/>
      </p:ext>
    </p:extLst>
  </p:cSld>
  <p:clrMapOvr>
    <a:masterClrMapping/>
  </p:clrMapOvr>
  <p:transition spd="med">
    <p:strips dir="rd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154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1373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0085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3118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1208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02591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241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8273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9414115"/>
      </p:ext>
    </p:extLst>
  </p:cSld>
  <p:clrMapOvr>
    <a:masterClrMapping/>
  </p:clrMapOvr>
  <p:transition spd="med">
    <p:strips dir="r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0254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5949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0109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6523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4920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84142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23899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454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9102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618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74929287"/>
      </p:ext>
    </p:extLst>
  </p:cSld>
  <p:clrMapOvr>
    <a:masterClrMapping/>
  </p:clrMapOvr>
  <p:transition spd="med">
    <p:strips dir="rd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9511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3885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5757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5374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493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98423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1948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96228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49705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10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1348115"/>
      </p:ext>
    </p:extLst>
  </p:cSld>
  <p:clrMapOvr>
    <a:masterClrMapping/>
  </p:clrMapOvr>
  <p:transition spd="med">
    <p:strips dir="rd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06224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480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745735"/>
      </p:ext>
    </p:extLst>
  </p:cSld>
  <p:clrMapOvr>
    <a:masterClrMapping/>
  </p:clrMapOvr>
  <p:transition spd="med">
    <p:strips dir="r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196655"/>
      </p:ext>
    </p:extLst>
  </p:cSld>
  <p:clrMapOvr>
    <a:masterClrMapping/>
  </p:clrMapOvr>
  <p:transition spd="med">
    <p:strips dir="r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sp>
        <p:nvSpPr>
          <p:cNvPr id="2" name="Rettangolo 1"/>
          <p:cNvSpPr/>
          <p:nvPr userDrawn="1"/>
        </p:nvSpPr>
        <p:spPr>
          <a:xfrm>
            <a:off x="217095" y="6137095"/>
            <a:ext cx="3802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3005305-56AA-41FB-8E52-9E09D388040D}" type="slidenum">
              <a:rPr lang="it-IT" sz="1100" smtClean="0">
                <a:solidFill>
                  <a:srgbClr val="000000"/>
                </a:solidFill>
              </a:rPr>
              <a:pPr/>
              <a:t>‹N›</a:t>
            </a:fld>
            <a:endParaRPr lang="it-IT" sz="1100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pic>
        <p:nvPicPr>
          <p:cNvPr id="4" name="Picture 2" descr="C:\MARKETING\PROGETTI\PPT REPLY TEMPLATE\elements\omini tutti colori 3d\green\reply_3d.png"/>
          <p:cNvPicPr>
            <a:picLocks noChangeAspect="1" noChangeArrowheads="1"/>
          </p:cNvPicPr>
          <p:nvPr userDrawn="1"/>
        </p:nvPicPr>
        <p:blipFill>
          <a:blip r:embed="rId15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651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67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7478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218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7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43472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sz="4400" b="0" dirty="0">
                <a:solidFill>
                  <a:srgbClr val="FFFFFF"/>
                </a:solidFill>
              </a:rPr>
              <a:t>PRESENTAZIONE </a:t>
            </a:r>
            <a:endParaRPr lang="it-IT" sz="44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DATI GENNAIO 2018</a:t>
            </a:r>
            <a:r>
              <a:rPr lang="it-IT" sz="4400" b="0" dirty="0">
                <a:solidFill>
                  <a:srgbClr val="FFFFFF"/>
                </a:solidFill>
              </a:rPr>
              <a:t/>
            </a:r>
            <a:br>
              <a:rPr lang="it-IT" sz="4400" b="0" dirty="0">
                <a:solidFill>
                  <a:srgbClr val="FFFFFF"/>
                </a:solidFill>
              </a:rPr>
            </a:br>
            <a:endParaRPr lang="it-IT" sz="20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OSSERVATORIO - FCP </a:t>
            </a: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ASSORADIO</a:t>
            </a:r>
            <a:endParaRPr lang="it-IT" sz="4400" b="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415480" y="5175273"/>
            <a:ext cx="7585612" cy="438427"/>
          </a:xfrm>
        </p:spPr>
        <p:txBody>
          <a:bodyPr/>
          <a:lstStyle/>
          <a:p>
            <a:r>
              <a:rPr lang="it-IT" sz="2000" dirty="0" smtClean="0"/>
              <a:t>Milano, 28 febbraio 2018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9732" y="373634"/>
            <a:ext cx="2533695" cy="1327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716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63742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4"/>
          <p:cNvSpPr/>
          <p:nvPr/>
        </p:nvSpPr>
        <p:spPr>
          <a:xfrm rot="5400000">
            <a:off x="4841700" y="-4373256"/>
            <a:ext cx="2520280" cy="12076119"/>
          </a:xfrm>
          <a:prstGeom prst="rect">
            <a:avLst/>
          </a:prstGeom>
          <a:solidFill>
            <a:srgbClr val="DBE2ED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5506993"/>
              </p:ext>
            </p:extLst>
          </p:nvPr>
        </p:nvGraphicFramePr>
        <p:xfrm>
          <a:off x="77227" y="620688"/>
          <a:ext cx="12062673" cy="21053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99956"/>
                <a:gridCol w="3779231"/>
                <a:gridCol w="3683486"/>
              </a:tblGrid>
              <a:tr h="149736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NUOVE nel periodo Gennaio 2017 – Gennaio 2018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68032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EMIT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Rechteck 4"/>
          <p:cNvSpPr/>
          <p:nvPr/>
        </p:nvSpPr>
        <p:spPr>
          <a:xfrm rot="5400000">
            <a:off x="4841700" y="-1204904"/>
            <a:ext cx="2520280" cy="12076119"/>
          </a:xfrm>
          <a:prstGeom prst="rect">
            <a:avLst/>
          </a:prstGeom>
          <a:solidFill>
            <a:srgbClr val="DBE2ED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12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0982904"/>
              </p:ext>
            </p:extLst>
          </p:nvPr>
        </p:nvGraphicFramePr>
        <p:xfrm>
          <a:off x="80682" y="3861048"/>
          <a:ext cx="12063600" cy="21471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3806"/>
                <a:gridCol w="4113098"/>
                <a:gridCol w="3496696"/>
              </a:tblGrid>
              <a:tr h="660633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CHIUSE nel periodo Gennaio 2017 – Gennaio 2018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14587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EMIT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2177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990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179348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Totale Fatturato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 e Avvisi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9623205"/>
              </p:ext>
            </p:extLst>
          </p:nvPr>
        </p:nvGraphicFramePr>
        <p:xfrm>
          <a:off x="74222" y="1027297"/>
          <a:ext cx="11953328" cy="4939948"/>
        </p:xfrm>
        <a:graphic>
          <a:graphicData uri="http://schemas.openxmlformats.org/drawingml/2006/table">
            <a:tbl>
              <a:tblPr/>
              <a:tblGrid>
                <a:gridCol w="911426"/>
                <a:gridCol w="1013322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693923"/>
                <a:gridCol w="864096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b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18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43142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7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63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7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6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57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04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7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7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8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7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5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3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8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5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0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1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8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7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3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3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5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i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5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.9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4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.3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.4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5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4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.2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.5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.5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5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.3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.26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.2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.7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.9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.7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54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.6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41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2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.47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.5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.5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661153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66"/>
          <p:cNvSpPr txBox="1">
            <a:spLocks noChangeArrowheads="1"/>
          </p:cNvSpPr>
          <p:nvPr/>
        </p:nvSpPr>
        <p:spPr bwMode="auto">
          <a:xfrm>
            <a:off x="1524000" y="179348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Tipologie di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Fatturato</a:t>
            </a:r>
            <a:r>
              <a:rPr lang="it-IT" altLang="it-IT" sz="18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(in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migliaia di euro)</a:t>
            </a:r>
            <a:endParaRPr lang="it-IT" altLang="it-IT" sz="180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5640435"/>
              </p:ext>
            </p:extLst>
          </p:nvPr>
        </p:nvGraphicFramePr>
        <p:xfrm>
          <a:off x="74222" y="1027297"/>
          <a:ext cx="11953328" cy="5000948"/>
        </p:xfrm>
        <a:graphic>
          <a:graphicData uri="http://schemas.openxmlformats.org/drawingml/2006/table">
            <a:tbl>
              <a:tblPr/>
              <a:tblGrid>
                <a:gridCol w="911426"/>
                <a:gridCol w="1013322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693923"/>
                <a:gridCol w="864096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b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18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43142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Tabellar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1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4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8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0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90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09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2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1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79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2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7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4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14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48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2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99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4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84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35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79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6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6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6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extra-tabellare</a:t>
                      </a:r>
                      <a:endParaRPr kumimoji="0" lang="it-IT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3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9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9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5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7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0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7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9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8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7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9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9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0687129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utoUpdateAnimBg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182882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Numero di Avvisi Nazionale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5720418"/>
              </p:ext>
            </p:extLst>
          </p:nvPr>
        </p:nvGraphicFramePr>
        <p:xfrm>
          <a:off x="119336" y="836712"/>
          <a:ext cx="11891446" cy="5228843"/>
        </p:xfrm>
        <a:graphic>
          <a:graphicData uri="http://schemas.openxmlformats.org/drawingml/2006/table">
            <a:tbl>
              <a:tblPr/>
              <a:tblGrid>
                <a:gridCol w="350215"/>
                <a:gridCol w="863428"/>
                <a:gridCol w="217062"/>
                <a:gridCol w="891552"/>
                <a:gridCol w="875384"/>
                <a:gridCol w="217062"/>
                <a:gridCol w="851770"/>
                <a:gridCol w="816991"/>
                <a:gridCol w="839193"/>
                <a:gridCol w="810963"/>
                <a:gridCol w="845221"/>
                <a:gridCol w="828674"/>
                <a:gridCol w="891643"/>
                <a:gridCol w="864096"/>
                <a:gridCol w="864096"/>
                <a:gridCol w="864096"/>
              </a:tblGrid>
              <a:tr h="28803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 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’’ e 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52233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rowSpan="16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1" u="none" strike="noStrike" kern="1200" dirty="0" smtClean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1298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300" dirty="0"/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.5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3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0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7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5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.7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46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tt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ov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ic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Gen. 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b"/>
                      <a:endParaRPr lang="it-IT" sz="100" b="1" i="1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.5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3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0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7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5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.7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46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66"/>
          <p:cNvSpPr txBox="1">
            <a:spLocks noChangeArrowheads="1"/>
          </p:cNvSpPr>
          <p:nvPr/>
        </p:nvSpPr>
        <p:spPr bwMode="auto">
          <a:xfrm>
            <a:off x="1415480" y="185130"/>
            <a:ext cx="9473710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Peso % delle diverse tipologie di avvisi, sulla base della durata </a:t>
            </a:r>
            <a:r>
              <a:rPr lang="it-IT" altLang="it-IT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secondi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uppo 9"/>
          <p:cNvGrpSpPr/>
          <p:nvPr/>
        </p:nvGrpSpPr>
        <p:grpSpPr>
          <a:xfrm>
            <a:off x="911424" y="1072551"/>
            <a:ext cx="10585176" cy="5668817"/>
            <a:chOff x="911424" y="1072551"/>
            <a:chExt cx="10585176" cy="5668817"/>
          </a:xfrm>
        </p:grpSpPr>
        <p:graphicFrame>
          <p:nvGraphicFramePr>
            <p:cNvPr id="7" name="Grafico 6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289633201"/>
                </p:ext>
              </p:extLst>
            </p:nvPr>
          </p:nvGraphicFramePr>
          <p:xfrm>
            <a:off x="911424" y="1124744"/>
            <a:ext cx="10585176" cy="561662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9" name="CasellaDiTesto 8"/>
            <p:cNvSpPr txBox="1"/>
            <p:nvPr/>
          </p:nvSpPr>
          <p:spPr>
            <a:xfrm>
              <a:off x="2927648" y="1072551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/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</a:rPr>
                <a:t>Gennaio 2017</a:t>
              </a:r>
            </a:p>
            <a:p>
              <a:pPr algn="ctr" fontAlgn="ctr"/>
              <a:endParaRPr lang="it-IT" sz="5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 fontAlgn="ctr"/>
              <a:r>
                <a:rPr lang="it-IT" sz="1400" dirty="0">
                  <a:solidFill>
                    <a:schemeClr val="bg1">
                      <a:lumMod val="50000"/>
                    </a:schemeClr>
                  </a:solidFill>
                </a:rPr>
                <a:t>2.500.456</a:t>
              </a:r>
              <a:endParaRPr lang="it-IT" sz="14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1" name="CasellaDiTesto 10"/>
            <p:cNvSpPr txBox="1"/>
            <p:nvPr/>
          </p:nvSpPr>
          <p:spPr>
            <a:xfrm>
              <a:off x="5159896" y="1072551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nnaio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556.336</a:t>
              </a:r>
              <a:endParaRPr lang="it-IT" sz="14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0700771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66"/>
          <p:cNvSpPr txBox="1">
            <a:spLocks noChangeArrowheads="1"/>
          </p:cNvSpPr>
          <p:nvPr/>
        </p:nvSpPr>
        <p:spPr bwMode="auto">
          <a:xfrm>
            <a:off x="1415480" y="185130"/>
            <a:ext cx="9473710" cy="646331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rend storico del peso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% delle diverse tipologie di avvisi, sulla base della durata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a Gennaio di ciascun anno </a:t>
            </a:r>
            <a:r>
              <a:rPr lang="it-IT" altLang="it-IT" sz="18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</a:t>
            </a:r>
            <a:r>
              <a:rPr lang="it-IT" altLang="it-IT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i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Grafico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7533941"/>
              </p:ext>
            </p:extLst>
          </p:nvPr>
        </p:nvGraphicFramePr>
        <p:xfrm>
          <a:off x="695400" y="1340769"/>
          <a:ext cx="10729192" cy="5040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63959666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5366" y="-2228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rend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ensile Gennaio 2007 –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Gennaio 2018</a:t>
            </a:r>
            <a:endParaRPr lang="it-IT" altLang="it-IT" sz="1800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uppo 3"/>
          <p:cNvGrpSpPr/>
          <p:nvPr/>
        </p:nvGrpSpPr>
        <p:grpSpPr>
          <a:xfrm>
            <a:off x="130981" y="1037424"/>
            <a:ext cx="11437667" cy="5958562"/>
            <a:chOff x="130981" y="1037424"/>
            <a:chExt cx="11437667" cy="5958562"/>
          </a:xfrm>
        </p:grpSpPr>
        <p:sp>
          <p:nvSpPr>
            <p:cNvPr id="34" name="Rettangolo 33"/>
            <p:cNvSpPr/>
            <p:nvPr/>
          </p:nvSpPr>
          <p:spPr bwMode="auto">
            <a:xfrm>
              <a:off x="6422503" y="1468576"/>
              <a:ext cx="9288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6" name="Rettangolo 35"/>
            <p:cNvSpPr/>
            <p:nvPr/>
          </p:nvSpPr>
          <p:spPr bwMode="auto">
            <a:xfrm>
              <a:off x="2744711" y="1471917"/>
              <a:ext cx="9288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7" name="Rettangolo 36"/>
            <p:cNvSpPr/>
            <p:nvPr/>
          </p:nvSpPr>
          <p:spPr bwMode="auto">
            <a:xfrm>
              <a:off x="893206" y="1472745"/>
              <a:ext cx="9288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8" name="Rettangolo 37"/>
            <p:cNvSpPr/>
            <p:nvPr/>
          </p:nvSpPr>
          <p:spPr bwMode="auto">
            <a:xfrm>
              <a:off x="4584295" y="1471919"/>
              <a:ext cx="9288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48" name="CasellaDiTesto 47"/>
            <p:cNvSpPr txBox="1"/>
            <p:nvPr/>
          </p:nvSpPr>
          <p:spPr>
            <a:xfrm>
              <a:off x="896474" y="1153234"/>
              <a:ext cx="900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7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Rettangolo 49"/>
            <p:cNvSpPr/>
            <p:nvPr/>
          </p:nvSpPr>
          <p:spPr bwMode="auto">
            <a:xfrm>
              <a:off x="8307498" y="1471387"/>
              <a:ext cx="9288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graphicFrame>
          <p:nvGraphicFramePr>
            <p:cNvPr id="53" name="Grafico 52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227226840"/>
                </p:ext>
              </p:extLst>
            </p:nvPr>
          </p:nvGraphicFramePr>
          <p:xfrm>
            <a:off x="648830" y="1037424"/>
            <a:ext cx="10799572" cy="515790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54" name="Rettangolo 53"/>
            <p:cNvSpPr/>
            <p:nvPr/>
          </p:nvSpPr>
          <p:spPr bwMode="auto">
            <a:xfrm>
              <a:off x="10145710" y="1475594"/>
              <a:ext cx="8352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23" name="CasellaDiTesto 22"/>
            <p:cNvSpPr txBox="1"/>
            <p:nvPr/>
          </p:nvSpPr>
          <p:spPr>
            <a:xfrm>
              <a:off x="1839095" y="1154900"/>
              <a:ext cx="900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8</a:t>
              </a:r>
            </a:p>
          </p:txBody>
        </p:sp>
        <p:sp>
          <p:nvSpPr>
            <p:cNvPr id="24" name="CasellaDiTesto 23"/>
            <p:cNvSpPr txBox="1"/>
            <p:nvPr/>
          </p:nvSpPr>
          <p:spPr>
            <a:xfrm>
              <a:off x="2768370" y="1155719"/>
              <a:ext cx="900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9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CasellaDiTesto 27"/>
            <p:cNvSpPr txBox="1"/>
            <p:nvPr/>
          </p:nvSpPr>
          <p:spPr>
            <a:xfrm>
              <a:off x="4603223" y="1155719"/>
              <a:ext cx="900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1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CasellaDiTesto 29"/>
            <p:cNvSpPr txBox="1"/>
            <p:nvPr/>
          </p:nvSpPr>
          <p:spPr>
            <a:xfrm>
              <a:off x="3691987" y="1154566"/>
              <a:ext cx="900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0</a:t>
              </a:r>
            </a:p>
          </p:txBody>
        </p:sp>
        <p:sp>
          <p:nvSpPr>
            <p:cNvPr id="35" name="CasellaDiTesto 34"/>
            <p:cNvSpPr txBox="1"/>
            <p:nvPr/>
          </p:nvSpPr>
          <p:spPr>
            <a:xfrm>
              <a:off x="5531921" y="1152684"/>
              <a:ext cx="900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2</a:t>
              </a:r>
            </a:p>
          </p:txBody>
        </p:sp>
        <p:sp>
          <p:nvSpPr>
            <p:cNvPr id="40" name="CasellaDiTesto 39"/>
            <p:cNvSpPr txBox="1"/>
            <p:nvPr/>
          </p:nvSpPr>
          <p:spPr>
            <a:xfrm>
              <a:off x="6444328" y="1155859"/>
              <a:ext cx="900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3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CasellaDiTesto 40"/>
            <p:cNvSpPr txBox="1"/>
            <p:nvPr/>
          </p:nvSpPr>
          <p:spPr>
            <a:xfrm>
              <a:off x="7380525" y="1154612"/>
              <a:ext cx="900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4</a:t>
              </a:r>
            </a:p>
          </p:txBody>
        </p:sp>
        <p:sp>
          <p:nvSpPr>
            <p:cNvPr id="42" name="CasellaDiTesto 41"/>
            <p:cNvSpPr txBox="1"/>
            <p:nvPr/>
          </p:nvSpPr>
          <p:spPr>
            <a:xfrm>
              <a:off x="8309605" y="1156357"/>
              <a:ext cx="900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5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CasellaDiTesto 56"/>
            <p:cNvSpPr txBox="1"/>
            <p:nvPr/>
          </p:nvSpPr>
          <p:spPr>
            <a:xfrm>
              <a:off x="9243328" y="1151262"/>
              <a:ext cx="864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6</a:t>
              </a:r>
            </a:p>
          </p:txBody>
        </p:sp>
        <p:sp>
          <p:nvSpPr>
            <p:cNvPr id="58" name="CasellaDiTesto 57"/>
            <p:cNvSpPr txBox="1"/>
            <p:nvPr/>
          </p:nvSpPr>
          <p:spPr>
            <a:xfrm>
              <a:off x="10146544" y="1152883"/>
              <a:ext cx="846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smtClean="0">
                  <a:latin typeface="Arial" panose="020B0604020202020204" pitchFamily="34" charset="0"/>
                  <a:cs typeface="Arial" panose="020B0604020202020204" pitchFamily="34" charset="0"/>
                </a:rPr>
                <a:t>2017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aphicFrame>
          <p:nvGraphicFramePr>
            <p:cNvPr id="25" name="Grafico 2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994598673"/>
                </p:ext>
              </p:extLst>
            </p:nvPr>
          </p:nvGraphicFramePr>
          <p:xfrm>
            <a:off x="130981" y="1287647"/>
            <a:ext cx="11106679" cy="570833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9" name="CasellaDiTesto 28"/>
            <p:cNvSpPr txBox="1"/>
            <p:nvPr/>
          </p:nvSpPr>
          <p:spPr>
            <a:xfrm>
              <a:off x="11064648" y="1151262"/>
              <a:ext cx="504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71016765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0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      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Media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obile Gennaio 2007 –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Gennaio 2018</a:t>
            </a:r>
            <a:endParaRPr lang="it-IT" altLang="it-IT" sz="160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0" name="Gruppo 19"/>
          <p:cNvGrpSpPr/>
          <p:nvPr/>
        </p:nvGrpSpPr>
        <p:grpSpPr>
          <a:xfrm>
            <a:off x="243792" y="986162"/>
            <a:ext cx="11396824" cy="5808169"/>
            <a:chOff x="243792" y="986162"/>
            <a:chExt cx="11396824" cy="5808169"/>
          </a:xfrm>
        </p:grpSpPr>
        <p:sp>
          <p:nvSpPr>
            <p:cNvPr id="25" name="Rettangolo 24"/>
            <p:cNvSpPr/>
            <p:nvPr/>
          </p:nvSpPr>
          <p:spPr bwMode="auto">
            <a:xfrm>
              <a:off x="7062583" y="1421284"/>
              <a:ext cx="10008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0" name="Rettangolo 29"/>
            <p:cNvSpPr/>
            <p:nvPr/>
          </p:nvSpPr>
          <p:spPr bwMode="auto">
            <a:xfrm>
              <a:off x="2996171" y="1424625"/>
              <a:ext cx="10008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1" name="Rettangolo 30"/>
            <p:cNvSpPr/>
            <p:nvPr/>
          </p:nvSpPr>
          <p:spPr bwMode="auto">
            <a:xfrm>
              <a:off x="961786" y="1425453"/>
              <a:ext cx="10008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2" name="Rettangolo 31"/>
            <p:cNvSpPr/>
            <p:nvPr/>
          </p:nvSpPr>
          <p:spPr bwMode="auto">
            <a:xfrm>
              <a:off x="5026255" y="1424627"/>
              <a:ext cx="10008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3" name="CasellaDiTesto 32"/>
            <p:cNvSpPr txBox="1"/>
            <p:nvPr/>
          </p:nvSpPr>
          <p:spPr>
            <a:xfrm>
              <a:off x="985374" y="988134"/>
              <a:ext cx="9936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8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Rettangolo 33"/>
            <p:cNvSpPr/>
            <p:nvPr/>
          </p:nvSpPr>
          <p:spPr bwMode="auto">
            <a:xfrm>
              <a:off x="9115218" y="1424095"/>
              <a:ext cx="10008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graphicFrame>
          <p:nvGraphicFramePr>
            <p:cNvPr id="40" name="Grafico 39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659015901"/>
                </p:ext>
              </p:extLst>
            </p:nvPr>
          </p:nvGraphicFramePr>
          <p:xfrm>
            <a:off x="648830" y="1421284"/>
            <a:ext cx="10799572" cy="477404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41" name="Rettangolo 40"/>
            <p:cNvSpPr/>
            <p:nvPr/>
          </p:nvSpPr>
          <p:spPr bwMode="auto">
            <a:xfrm>
              <a:off x="11136310" y="1428302"/>
              <a:ext cx="720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42" name="CasellaDiTesto 41"/>
            <p:cNvSpPr txBox="1"/>
            <p:nvPr/>
          </p:nvSpPr>
          <p:spPr>
            <a:xfrm>
              <a:off x="2032135" y="989800"/>
              <a:ext cx="936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9</a:t>
              </a:r>
            </a:p>
          </p:txBody>
        </p:sp>
        <p:sp>
          <p:nvSpPr>
            <p:cNvPr id="46" name="CasellaDiTesto 45"/>
            <p:cNvSpPr txBox="1"/>
            <p:nvPr/>
          </p:nvSpPr>
          <p:spPr>
            <a:xfrm>
              <a:off x="3022370" y="990619"/>
              <a:ext cx="9936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0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CasellaDiTesto 46"/>
            <p:cNvSpPr txBox="1"/>
            <p:nvPr/>
          </p:nvSpPr>
          <p:spPr>
            <a:xfrm>
              <a:off x="5047723" y="990619"/>
              <a:ext cx="9936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2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CasellaDiTesto 47"/>
            <p:cNvSpPr txBox="1"/>
            <p:nvPr/>
          </p:nvSpPr>
          <p:spPr>
            <a:xfrm>
              <a:off x="4067907" y="989466"/>
              <a:ext cx="936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1</a:t>
              </a:r>
            </a:p>
          </p:txBody>
        </p:sp>
        <p:sp>
          <p:nvSpPr>
            <p:cNvPr id="49" name="CasellaDiTesto 48"/>
            <p:cNvSpPr txBox="1"/>
            <p:nvPr/>
          </p:nvSpPr>
          <p:spPr>
            <a:xfrm>
              <a:off x="6088816" y="987584"/>
              <a:ext cx="936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3</a:t>
              </a:r>
            </a:p>
          </p:txBody>
        </p:sp>
        <p:sp>
          <p:nvSpPr>
            <p:cNvPr id="50" name="CasellaDiTesto 49"/>
            <p:cNvSpPr txBox="1"/>
            <p:nvPr/>
          </p:nvSpPr>
          <p:spPr>
            <a:xfrm>
              <a:off x="7069803" y="990759"/>
              <a:ext cx="9936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4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CasellaDiTesto 50"/>
            <p:cNvSpPr txBox="1"/>
            <p:nvPr/>
          </p:nvSpPr>
          <p:spPr>
            <a:xfrm>
              <a:off x="8135540" y="989512"/>
              <a:ext cx="936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5</a:t>
              </a:r>
            </a:p>
          </p:txBody>
        </p:sp>
        <p:sp>
          <p:nvSpPr>
            <p:cNvPr id="52" name="CasellaDiTesto 51"/>
            <p:cNvSpPr txBox="1"/>
            <p:nvPr/>
          </p:nvSpPr>
          <p:spPr>
            <a:xfrm>
              <a:off x="9135105" y="991257"/>
              <a:ext cx="9936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6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CasellaDiTesto 52"/>
            <p:cNvSpPr txBox="1"/>
            <p:nvPr/>
          </p:nvSpPr>
          <p:spPr>
            <a:xfrm>
              <a:off x="10160268" y="986162"/>
              <a:ext cx="936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7</a:t>
              </a:r>
            </a:p>
          </p:txBody>
        </p:sp>
        <p:sp>
          <p:nvSpPr>
            <p:cNvPr id="54" name="CasellaDiTesto 53"/>
            <p:cNvSpPr txBox="1"/>
            <p:nvPr/>
          </p:nvSpPr>
          <p:spPr>
            <a:xfrm>
              <a:off x="11119214" y="986162"/>
              <a:ext cx="521402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8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aphicFrame>
          <p:nvGraphicFramePr>
            <p:cNvPr id="55" name="Grafico 5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856293506"/>
                </p:ext>
              </p:extLst>
            </p:nvPr>
          </p:nvGraphicFramePr>
          <p:xfrm>
            <a:off x="243792" y="1268760"/>
            <a:ext cx="11204610" cy="552557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01276590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4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5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atermark</Template>
  <TotalTime>22565</TotalTime>
  <Words>802</Words>
  <Application>Microsoft Office PowerPoint</Application>
  <PresentationFormat>Widescreen</PresentationFormat>
  <Paragraphs>653</Paragraphs>
  <Slides>10</Slides>
  <Notes>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0</vt:i4>
      </vt:variant>
    </vt:vector>
  </HeadingPairs>
  <TitlesOfParts>
    <vt:vector size="20" baseType="lpstr">
      <vt:lpstr>Arial</vt:lpstr>
      <vt:lpstr>Arial Black</vt:lpstr>
      <vt:lpstr>Verdana</vt:lpstr>
      <vt:lpstr>Wingdings</vt:lpstr>
      <vt:lpstr>1_Default Design</vt:lpstr>
      <vt:lpstr>2_Default Design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Company>Reply Consulti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ati Mensili Osservatorio Stampa</dc:title>
  <dc:creator>FCP</dc:creator>
  <cp:lastModifiedBy>Selvaggi Laura</cp:lastModifiedBy>
  <cp:revision>1966</cp:revision>
  <cp:lastPrinted>2018-02-21T16:03:09Z</cp:lastPrinted>
  <dcterms:created xsi:type="dcterms:W3CDTF">2006-03-29T09:09:15Z</dcterms:created>
  <dcterms:modified xsi:type="dcterms:W3CDTF">2018-02-22T09:29:29Z</dcterms:modified>
</cp:coreProperties>
</file>